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4"/>
  </p:sldMasterIdLst>
  <p:notesMasterIdLst>
    <p:notesMasterId r:id="rId7"/>
  </p:notesMasterIdLst>
  <p:sldIdLst>
    <p:sldId id="256" r:id="rId5"/>
    <p:sldId id="258" r:id="rId6"/>
  </p:sldIdLst>
  <p:sldSz cx="9144000" cy="5143500" type="screen16x9"/>
  <p:notesSz cx="6858000" cy="9144000"/>
  <p:custDataLst>
    <p:tags r:id="rId8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05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05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05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05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05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05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05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05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05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pos="486" userDrawn="1">
          <p15:clr>
            <a:srgbClr val="9AA0A6"/>
          </p15:clr>
        </p15:guide>
        <p15:guide id="2" orient="horz" pos="1620" userDrawn="1">
          <p15:clr>
            <a:srgbClr val="A4A3A4"/>
          </p15:clr>
        </p15:guide>
      </p15:sldGuideLst>
    </p:ext>
    <p:ext uri="http://customooxmlschemas.google.com/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39" roundtripDataSignature="AMtx7mhu8n7NYh91WQ1dG2QZIgJrhs4qig==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Jiang Yue IT-Center-270529" initials="" lastIdx="10" clrIdx="0"/>
  <p:cmAuthor id="1" name="Andrew Tan" initials="" lastIdx="2" clrIdx="1"/>
  <p:cmAuthor id="2" name="Samuel Lum Xin De" initials="" lastIdx="4" clrIdx="2"/>
  <p:cmAuthor id="3" name="Jiang Yue IT-Center-270529" initials="JYIC2" lastIdx="20" clrIdx="3">
    <p:extLst>
      <p:ext uri="{19B8F6BF-5375-455C-9EA6-DF929625EA0E}">
        <p15:presenceInfo xmlns:p15="http://schemas.microsoft.com/office/powerpoint/2012/main" userId="S::jiangyue@shopee.com::7d7a5278-f011-4b0c-986e-4b069b8ee524" providerId="AD"/>
      </p:ext>
    </p:extLst>
  </p:cmAuthor>
  <p:cmAuthor id="4" name="Dion Tan Jin Yan" initials="DTJY" lastIdx="4" clrIdx="4">
    <p:extLst>
      <p:ext uri="{19B8F6BF-5375-455C-9EA6-DF929625EA0E}">
        <p15:presenceInfo xmlns:p15="http://schemas.microsoft.com/office/powerpoint/2012/main" userId="S::dion.tanjy@shopee.com::5f297b04-02f4-4804-8029-8fee13c566a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85372EF3-296E-4A2D-9282-C41AEDB95526}">
  <a:tblStyle styleId="{85372EF3-296E-4A2D-9282-C41AEDB95526}" styleName="Table_0">
    <a:wholeTbl>
      <a:tcTxStyle b="off" i="off">
        <a:font>
          <a:latin typeface="Arial"/>
          <a:ea typeface="Arial"/>
          <a:cs typeface="Arial"/>
        </a:font>
        <a:srgbClr val="000000"/>
      </a:tcTxStyle>
      <a:tcStyle>
        <a:tcBdr/>
      </a:tcStyle>
    </a:wholeTbl>
    <a:band1H>
      <a:tcTxStyle b="off" i="off"/>
      <a:tcStyle>
        <a:tcBdr/>
      </a:tcStyle>
    </a:band1H>
    <a:band2H>
      <a:tcTxStyle b="off" i="off"/>
      <a:tcStyle>
        <a:tcBdr/>
      </a:tcStyle>
    </a:band2H>
    <a:band1V>
      <a:tcTxStyle b="off" i="off"/>
      <a:tcStyle>
        <a:tcBdr/>
      </a:tcStyle>
    </a:band1V>
    <a:band2V>
      <a:tcTxStyle b="off" i="off"/>
      <a:tcStyle>
        <a:tcBdr/>
      </a:tcStyle>
    </a:band2V>
    <a:lastCol>
      <a:tcTxStyle b="off" i="off"/>
      <a:tcStyle>
        <a:tcBdr/>
      </a:tcStyle>
    </a:lastCol>
    <a:firstCol>
      <a:tcTxStyle b="off" i="off"/>
      <a:tcStyle>
        <a:tcBdr/>
      </a:tcStyle>
    </a:firstCol>
    <a:lastRow>
      <a:tcTxStyle b="off" i="off"/>
      <a:tcStyle>
        <a:tcBdr/>
      </a:tcStyle>
    </a:lastRow>
    <a:seCell>
      <a:tcTxStyle b="off" i="off"/>
      <a:tcStyle>
        <a:tcBdr/>
      </a:tcStyle>
    </a:seCell>
    <a:swCell>
      <a:tcTxStyle b="off" i="off"/>
      <a:tcStyle>
        <a:tcBdr/>
      </a:tcStyle>
    </a:swCell>
    <a:firstRow>
      <a:tcTxStyle b="off" i="off"/>
      <a:tcStyle>
        <a:tcBdr/>
      </a:tcStyle>
    </a:firstRow>
    <a:neCell>
      <a:tcTxStyle b="off" i="off"/>
      <a:tcStyle>
        <a:tcBdr/>
      </a:tcStyle>
    </a:neCell>
    <a:nwCell>
      <a:tcTxStyle b="off" i="off"/>
      <a:tcStyle>
        <a:tcBdr/>
      </a:tcStyle>
    </a:nwCell>
  </a:tblStyle>
  <a:tblStyle styleId="{8E2EE499-FE37-4DED-A751-AE3D3B857B06}" styleName="Table_1">
    <a:wholeTbl>
      <a:tcTxStyle b="off" i="off"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 b="off" i="off"/>
      <a:tcStyle>
        <a:tcBdr/>
      </a:tcStyle>
    </a:band1H>
    <a:band2H>
      <a:tcTxStyle b="off" i="off"/>
      <a:tcStyle>
        <a:tcBdr/>
      </a:tcStyle>
    </a:band2H>
    <a:band1V>
      <a:tcTxStyle b="off" i="off"/>
      <a:tcStyle>
        <a:tcBdr/>
      </a:tcStyle>
    </a:band1V>
    <a:band2V>
      <a:tcTxStyle b="off" i="off"/>
      <a:tcStyle>
        <a:tcBdr/>
      </a:tcStyle>
    </a:band2V>
    <a:lastCol>
      <a:tcTxStyle b="off" i="off"/>
      <a:tcStyle>
        <a:tcBdr/>
      </a:tcStyle>
    </a:lastCol>
    <a:firstCol>
      <a:tcTxStyle b="off" i="off"/>
      <a:tcStyle>
        <a:tcBdr/>
      </a:tcStyle>
    </a:firstCol>
    <a:lastRow>
      <a:tcTxStyle b="off" i="off"/>
      <a:tcStyle>
        <a:tcBdr/>
      </a:tcStyle>
    </a:lastRow>
    <a:seCell>
      <a:tcTxStyle b="off" i="off"/>
      <a:tcStyle>
        <a:tcBdr/>
      </a:tcStyle>
    </a:seCell>
    <a:swCell>
      <a:tcTxStyle b="off" i="off"/>
      <a:tcStyle>
        <a:tcBdr/>
      </a:tcStyle>
    </a:swCell>
    <a:firstRow>
      <a:tcTxStyle b="off" i="off"/>
      <a:tcStyle>
        <a:tcBdr/>
      </a:tcStyle>
    </a:firstRow>
    <a:neCell>
      <a:tcTxStyle b="off" i="off"/>
      <a:tcStyle>
        <a:tcBdr/>
      </a:tcStyle>
    </a:neCell>
    <a:nwCell>
      <a:tcTxStyle b="off" i="off"/>
      <a:tcStyle>
        <a:tcBdr/>
      </a:tcStyle>
    </a:nwCell>
  </a:tblStyle>
  <a:tblStyle styleId="{46587F20-FEAD-4F2E-AE4F-95DBFF5E0846}" styleName="Table_2">
    <a:wholeTbl>
      <a:tcTxStyle>
        <a:font>
          <a:latin typeface="Arial"/>
          <a:ea typeface="Arial"/>
          <a:cs typeface="Arial"/>
        </a:font>
        <a:srgbClr val="000000"/>
      </a:tcTxStyle>
      <a:tcStyle>
        <a:tcBdr/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C834AE1A-DF2F-425D-BEFB-E3E589799F17}" styleName="Table_3">
    <a:wholeTbl>
      <a:tcTxStyle b="off" i="off">
        <a:font>
          <a:latin typeface="Arial"/>
          <a:ea typeface="Arial"/>
          <a:cs typeface="Arial"/>
        </a:font>
        <a:schemeClr val="dk1"/>
      </a:tcTxStyle>
      <a:tcStyle>
        <a:tcBdr>
          <a:left>
            <a:ln w="12700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12700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FFFFFF">
              <a:alpha val="0"/>
            </a:srgbClr>
          </a:solidFill>
        </a:fill>
      </a:tcStyle>
    </a:wholeTbl>
    <a:band1H>
      <a:tcTxStyle b="off" i="off"/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TxStyle b="off" i="off"/>
      <a:tcStyle>
        <a:tcBdr/>
      </a:tcStyle>
    </a:band2H>
    <a:band1V>
      <a:tcTxStyle b="off" i="off"/>
      <a:tcStyle>
        <a:tcBdr/>
        <a:fill>
          <a:solidFill>
            <a:schemeClr val="accent2">
              <a:alpha val="20000"/>
            </a:schemeClr>
          </a:solidFill>
        </a:fill>
      </a:tcStyle>
    </a:band1V>
    <a:band2V>
      <a:tcTxStyle b="off" i="off"/>
      <a:tcStyle>
        <a:tcBdr/>
      </a:tcStyle>
    </a:band2V>
    <a:lastCol>
      <a:tcTxStyle b="on" i="off"/>
      <a:tcStyle>
        <a:tcBdr/>
      </a:tcStyle>
    </a:lastCol>
    <a:firstCol>
      <a:tcTxStyle b="on" i="off"/>
      <a:tcStyle>
        <a:tcBdr/>
      </a:tcStyle>
    </a:firstCol>
    <a:lastRow>
      <a:tcTxStyle b="on" i="off"/>
      <a:tcStyle>
        <a:tcBdr>
          <a:top>
            <a:ln w="50800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a:top>
        </a:tcBdr>
        <a:fill>
          <a:solidFill>
            <a:srgbClr val="FFFFFF">
              <a:alpha val="0"/>
            </a:srgbClr>
          </a:solidFill>
        </a:fill>
      </a:tcStyle>
    </a:lastRow>
    <a:seCell>
      <a:tcTxStyle b="off" i="off"/>
      <a:tcStyle>
        <a:tcBdr/>
      </a:tcStyle>
    </a:seCell>
    <a:swCell>
      <a:tcTxStyle b="off" i="off"/>
      <a:tcStyle>
        <a:tcBdr/>
      </a:tcStyle>
    </a:swCell>
    <a:firstRow>
      <a:tcTxStyle b="on" i="off"/>
      <a:tcStyle>
        <a:tcBdr>
          <a:bottom>
            <a:ln w="25400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a:bottom>
        </a:tcBdr>
        <a:fill>
          <a:solidFill>
            <a:srgbClr val="FFFFFF">
              <a:alpha val="0"/>
            </a:srgbClr>
          </a:solidFill>
        </a:fill>
      </a:tcStyle>
    </a:firstRow>
    <a:neCell>
      <a:tcTxStyle b="off" i="off"/>
      <a:tcStyle>
        <a:tcBdr/>
      </a:tcStyle>
    </a:neCell>
    <a:nwCell>
      <a:tcTxStyle b="off" i="off"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635" autoAdjust="0"/>
    <p:restoredTop sz="89819" autoAdjust="0"/>
  </p:normalViewPr>
  <p:slideViewPr>
    <p:cSldViewPr snapToGrid="0">
      <p:cViewPr varScale="1">
        <p:scale>
          <a:sx n="79" d="100"/>
          <a:sy n="79" d="100"/>
        </p:scale>
        <p:origin x="1264" y="60"/>
      </p:cViewPr>
      <p:guideLst>
        <p:guide pos="486"/>
        <p:guide orient="horz" pos="162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9" Type="http://customschemas.google.com/relationships/presentationmetadata" Target="metadata"/><Relationship Id="rId3" Type="http://schemas.openxmlformats.org/officeDocument/2006/relationships/customXml" Target="../customXml/item3.xml"/><Relationship Id="rId42" Type="http://schemas.openxmlformats.org/officeDocument/2006/relationships/viewProps" Target="viewProps.xml"/><Relationship Id="rId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41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40" Type="http://schemas.openxmlformats.org/officeDocument/2006/relationships/commentAuthors" Target="commentAuthors.xml"/><Relationship Id="rId5" Type="http://schemas.openxmlformats.org/officeDocument/2006/relationships/slide" Target="slides/slide1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43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>
            <a:noFill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05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05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05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05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05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05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05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05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05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4" name="Google Shape;254;p32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55" name="Google Shape;255;p3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>
            <a:noFill/>
          </a:ln>
        </p:spPr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" userDrawn="1">
  <p:cSld name="TITLE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oogle Shape;14;p24" descr="Picture 1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071939" y="614752"/>
            <a:ext cx="991939" cy="1404515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Google Shape;17;p24"/>
          <p:cNvSpPr/>
          <p:nvPr/>
        </p:nvSpPr>
        <p:spPr>
          <a:xfrm>
            <a:off x="0" y="4328517"/>
            <a:ext cx="9144000" cy="843559"/>
          </a:xfrm>
          <a:prstGeom prst="rect">
            <a:avLst/>
          </a:prstGeom>
          <a:solidFill>
            <a:srgbClr val="EE4D2D"/>
          </a:solidFill>
          <a:ln>
            <a:noFill/>
          </a:ln>
        </p:spPr>
        <p:txBody>
          <a:bodyPr spcFirstLastPara="1" wrap="square" lIns="34275" tIns="34275" rIns="34275" bIns="34275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1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ntent" userDrawn="1">
  <p:cSld name="5_Content">
    <p:spTree>
      <p:nvGrpSpPr>
        <p:cNvPr id="1" name="Shape 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Google Shape;19;p3"/>
          <p:cNvSpPr txBox="1"/>
          <p:nvPr/>
        </p:nvSpPr>
        <p:spPr>
          <a:xfrm>
            <a:off x="3817659" y="4800959"/>
            <a:ext cx="1508793" cy="16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7138" tIns="17138" rIns="17138" bIns="17138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000"/>
              <a:buFont typeface="Open Sans"/>
              <a:buNone/>
            </a:pPr>
            <a:r>
              <a:rPr lang="en-US" sz="750" b="0" i="0" u="none" strike="noStrike" cap="none" dirty="0">
                <a:solidFill>
                  <a:srgbClr val="888888"/>
                </a:solidFill>
                <a:latin typeface="Open Sans"/>
                <a:ea typeface="Open Sans"/>
                <a:cs typeface="Open Sans"/>
                <a:sym typeface="Open Sans"/>
              </a:rPr>
              <a:t>Private &amp; Confidential</a:t>
            </a:r>
            <a:endParaRPr sz="525" dirty="0"/>
          </a:p>
        </p:txBody>
      </p:sp>
      <p:sp>
        <p:nvSpPr>
          <p:cNvPr id="25" name="Google Shape;25;p3"/>
          <p:cNvSpPr txBox="1">
            <a:spLocks noGrp="1"/>
          </p:cNvSpPr>
          <p:nvPr>
            <p:ph type="sldNum" idx="12"/>
          </p:nvPr>
        </p:nvSpPr>
        <p:spPr>
          <a:xfrm>
            <a:off x="8767743" y="4784766"/>
            <a:ext cx="173520" cy="19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5400" tIns="25400" rIns="25400" bIns="25400" anchor="t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Open Sans"/>
              <a:buNone/>
              <a:defRPr sz="900">
                <a:solidFill>
                  <a:srgbClr val="000000"/>
                </a:solidFill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Open Sans"/>
              <a:buNone/>
              <a:defRPr sz="900">
                <a:solidFill>
                  <a:srgbClr val="000000"/>
                </a:solidFill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Open Sans"/>
              <a:buNone/>
              <a:defRPr sz="900">
                <a:solidFill>
                  <a:srgbClr val="000000"/>
                </a:solidFill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Open Sans"/>
              <a:buNone/>
              <a:defRPr sz="900">
                <a:solidFill>
                  <a:srgbClr val="000000"/>
                </a:solidFill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Open Sans"/>
              <a:buNone/>
              <a:defRPr sz="900">
                <a:solidFill>
                  <a:srgbClr val="000000"/>
                </a:solidFill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Open Sans"/>
              <a:buNone/>
              <a:defRPr sz="900">
                <a:solidFill>
                  <a:srgbClr val="000000"/>
                </a:solidFill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Open Sans"/>
              <a:buNone/>
              <a:defRPr sz="900">
                <a:solidFill>
                  <a:srgbClr val="000000"/>
                </a:solidFill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Open Sans"/>
              <a:buNone/>
              <a:defRPr sz="900">
                <a:solidFill>
                  <a:srgbClr val="000000"/>
                </a:solidFill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Open Sans"/>
              <a:buNone/>
              <a:defRPr sz="900">
                <a:solidFill>
                  <a:srgbClr val="000000"/>
                </a:solidFill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 sz="825" dirty="0">
              <a:solidFill>
                <a:srgbClr val="929292"/>
              </a:solidFill>
            </a:endParaRPr>
          </a:p>
        </p:txBody>
      </p:sp>
      <p:pic>
        <p:nvPicPr>
          <p:cNvPr id="4" name="Google Shape;65;p15">
            <a:extLst>
              <a:ext uri="{FF2B5EF4-FFF2-40B4-BE49-F238E27FC236}">
                <a16:creationId xmlns:a16="http://schemas.microsoft.com/office/drawing/2014/main" id="{31857B5C-956B-D265-F55D-46B811445B3E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 b="23989"/>
          <a:stretch/>
        </p:blipFill>
        <p:spPr>
          <a:xfrm>
            <a:off x="182815" y="167918"/>
            <a:ext cx="338678" cy="36450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5" name="Google Shape;66;p15">
            <a:extLst>
              <a:ext uri="{FF2B5EF4-FFF2-40B4-BE49-F238E27FC236}">
                <a16:creationId xmlns:a16="http://schemas.microsoft.com/office/drawing/2014/main" id="{0EC9A14D-E561-0B24-2A71-91FF0E3140E5}"/>
              </a:ext>
            </a:extLst>
          </p:cNvPr>
          <p:cNvCxnSpPr>
            <a:cxnSpLocks/>
          </p:cNvCxnSpPr>
          <p:nvPr userDrawn="1"/>
        </p:nvCxnSpPr>
        <p:spPr>
          <a:xfrm>
            <a:off x="39874" y="599728"/>
            <a:ext cx="8819705" cy="1013"/>
          </a:xfrm>
          <a:prstGeom prst="straightConnector1">
            <a:avLst/>
          </a:prstGeom>
          <a:noFill/>
          <a:ln w="38100" cap="flat" cmpd="sng">
            <a:solidFill>
              <a:srgbClr val="EE4D2D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" name="Google Shape;67;p15">
            <a:extLst>
              <a:ext uri="{FF2B5EF4-FFF2-40B4-BE49-F238E27FC236}">
                <a16:creationId xmlns:a16="http://schemas.microsoft.com/office/drawing/2014/main" id="{CD440A01-0400-54D4-A9B9-0560C5BF7936}"/>
              </a:ext>
            </a:extLst>
          </p:cNvPr>
          <p:cNvSpPr/>
          <p:nvPr userDrawn="1"/>
        </p:nvSpPr>
        <p:spPr>
          <a:xfrm>
            <a:off x="8962928" y="564416"/>
            <a:ext cx="57150" cy="56700"/>
          </a:xfrm>
          <a:prstGeom prst="ellipse">
            <a:avLst/>
          </a:prstGeom>
          <a:solidFill>
            <a:srgbClr val="FF6600"/>
          </a:solidFill>
          <a:ln w="9525" cap="flat" cmpd="sng">
            <a:solidFill>
              <a:srgbClr val="FF66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21694" tIns="10838" rIns="21694" bIns="10838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Calibri"/>
              <a:buNone/>
            </a:pPr>
            <a:endParaRPr sz="675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5470341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oogle Shape;65;p15">
            <a:extLst>
              <a:ext uri="{FF2B5EF4-FFF2-40B4-BE49-F238E27FC236}">
                <a16:creationId xmlns:a16="http://schemas.microsoft.com/office/drawing/2014/main" id="{0550BE31-F478-92E4-EFCC-EC8093B6DA76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 b="23989"/>
          <a:stretch/>
        </p:blipFill>
        <p:spPr>
          <a:xfrm>
            <a:off x="182815" y="167918"/>
            <a:ext cx="338678" cy="36450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" name="Google Shape;66;p15">
            <a:extLst>
              <a:ext uri="{FF2B5EF4-FFF2-40B4-BE49-F238E27FC236}">
                <a16:creationId xmlns:a16="http://schemas.microsoft.com/office/drawing/2014/main" id="{4D9B4895-B875-F86F-70C9-95A3837FC080}"/>
              </a:ext>
            </a:extLst>
          </p:cNvPr>
          <p:cNvCxnSpPr>
            <a:cxnSpLocks/>
          </p:cNvCxnSpPr>
          <p:nvPr userDrawn="1"/>
        </p:nvCxnSpPr>
        <p:spPr>
          <a:xfrm>
            <a:off x="39874" y="599728"/>
            <a:ext cx="8819705" cy="1013"/>
          </a:xfrm>
          <a:prstGeom prst="straightConnector1">
            <a:avLst/>
          </a:prstGeom>
          <a:noFill/>
          <a:ln w="38100" cap="flat" cmpd="sng">
            <a:solidFill>
              <a:srgbClr val="EE4D2D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" name="Google Shape;67;p15">
            <a:extLst>
              <a:ext uri="{FF2B5EF4-FFF2-40B4-BE49-F238E27FC236}">
                <a16:creationId xmlns:a16="http://schemas.microsoft.com/office/drawing/2014/main" id="{38DA4404-F689-C8C0-F1C6-90C231A7E65C}"/>
              </a:ext>
            </a:extLst>
          </p:cNvPr>
          <p:cNvSpPr/>
          <p:nvPr userDrawn="1"/>
        </p:nvSpPr>
        <p:spPr>
          <a:xfrm>
            <a:off x="8962928" y="564416"/>
            <a:ext cx="57150" cy="56700"/>
          </a:xfrm>
          <a:prstGeom prst="ellipse">
            <a:avLst/>
          </a:prstGeom>
          <a:solidFill>
            <a:srgbClr val="FF6600"/>
          </a:solidFill>
          <a:ln w="9525" cap="flat" cmpd="sng">
            <a:solidFill>
              <a:srgbClr val="FF66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21694" tIns="10838" rIns="21694" bIns="10838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Calibri"/>
              <a:buNone/>
            </a:pPr>
            <a:endParaRPr sz="675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aphicFrame>
        <p:nvGraphicFramePr>
          <p:cNvPr id="2" name="Google Shape;101;p19">
            <a:extLst>
              <a:ext uri="{FF2B5EF4-FFF2-40B4-BE49-F238E27FC236}">
                <a16:creationId xmlns:a16="http://schemas.microsoft.com/office/drawing/2014/main" id="{002C5374-A275-7DCF-4B14-F0E2A1B2B3BB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3441920323"/>
              </p:ext>
            </p:extLst>
          </p:nvPr>
        </p:nvGraphicFramePr>
        <p:xfrm>
          <a:off x="1490471" y="685800"/>
          <a:ext cx="7419471" cy="1096290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130974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6435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5786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58750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19258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600"/>
                        <a:buFont typeface="Arial"/>
                        <a:buNone/>
                      </a:pPr>
                      <a:r>
                        <a:rPr lang="en" sz="700" b="1" u="none" strike="noStrike" cap="none"/>
                        <a:t>Name</a:t>
                      </a:r>
                      <a:endParaRPr sz="700" b="1" u="none" strike="noStrike" cap="none"/>
                    </a:p>
                  </a:txBody>
                  <a:tcPr marL="51431" marR="51431" marT="20250" marB="20250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CE5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endParaRPr sz="700" u="none" strike="noStrike" cap="none" dirty="0"/>
                    </a:p>
                  </a:txBody>
                  <a:tcPr marL="33338" marR="33338" marT="14288" marB="14288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" sz="700" b="1" u="none" strike="noStrike" cap="none"/>
                        <a:t>Total Team Size</a:t>
                      </a:r>
                      <a:endParaRPr sz="700" b="1" u="none" strike="noStrike" cap="none"/>
                    </a:p>
                  </a:txBody>
                  <a:tcPr marL="51431" marR="51431" marT="20250" marB="20250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CE5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endParaRPr sz="700" u="none" strike="noStrike" cap="none" dirty="0"/>
                    </a:p>
                  </a:txBody>
                  <a:tcPr marL="33338" marR="33338" marT="14288" marB="14288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9258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600"/>
                        <a:buFont typeface="Arial"/>
                        <a:buNone/>
                      </a:pPr>
                      <a:r>
                        <a:rPr lang="en" sz="700" b="1" u="none" strike="noStrike" cap="none"/>
                        <a:t>Designation</a:t>
                      </a:r>
                      <a:endParaRPr sz="700" b="1" u="none" strike="noStrike" cap="none"/>
                    </a:p>
                  </a:txBody>
                  <a:tcPr marL="51431" marR="51431" marT="20250" marB="20250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CE5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endParaRPr sz="700" b="0" i="0" u="none" strike="noStrike" cap="none" dirty="0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33338" marR="33338" marT="14288" marB="14288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600"/>
                        <a:buFont typeface="Arial"/>
                        <a:buNone/>
                      </a:pPr>
                      <a:r>
                        <a:rPr lang="en" sz="700" b="1" u="none" strike="noStrike" cap="none"/>
                        <a:t>Join Date (Tenure)</a:t>
                      </a:r>
                      <a:endParaRPr sz="700" b="1" u="none" strike="noStrike" cap="none"/>
                    </a:p>
                  </a:txBody>
                  <a:tcPr marL="51431" marR="51431" marT="20250" marB="20250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CE5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endParaRPr sz="700" u="none" strike="noStrike" cap="none" dirty="0"/>
                    </a:p>
                  </a:txBody>
                  <a:tcPr marL="33338" marR="33338" marT="14288" marB="14288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19258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r>
                        <a:rPr lang="en" sz="700" b="1" u="none" strike="noStrike" cap="none" dirty="0">
                          <a:solidFill>
                            <a:schemeClr val="dk1"/>
                          </a:solidFill>
                        </a:rPr>
                        <a:t>Location</a:t>
                      </a:r>
                      <a:endParaRPr sz="700" b="1" u="none" strike="noStrike" cap="none" dirty="0"/>
                    </a:p>
                  </a:txBody>
                  <a:tcPr marL="51431" marR="51431" marT="20250" marB="20250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CE5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endParaRPr sz="700" u="none" strike="noStrike" cap="none" dirty="0"/>
                    </a:p>
                  </a:txBody>
                  <a:tcPr marL="33338" marR="33338" marT="14288" marB="14288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" sz="700" b="1" u="none" strike="noStrike" cap="none"/>
                        <a:t>Age</a:t>
                      </a:r>
                      <a:endParaRPr sz="700" b="1" u="none" strike="noStrike" cap="none"/>
                    </a:p>
                  </a:txBody>
                  <a:tcPr marL="51431" marR="51431" marT="20250" marB="20250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CE5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endParaRPr sz="700" u="none" strike="noStrike" cap="none" dirty="0">
                        <a:solidFill>
                          <a:schemeClr val="dk1"/>
                        </a:solidFill>
                      </a:endParaRPr>
                    </a:p>
                  </a:txBody>
                  <a:tcPr marL="33338" marR="33338" marT="14288" marB="14288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19258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" sz="700" b="1" u="none" strike="noStrike" cap="none"/>
                        <a:t>Reporting Manager</a:t>
                      </a:r>
                      <a:endParaRPr sz="700" b="1" u="none" strike="noStrike" cap="none"/>
                    </a:p>
                  </a:txBody>
                  <a:tcPr marL="51431" marR="51431" marT="20250" marB="20250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CE5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endParaRPr sz="700" u="none" strike="noStrike" cap="none" dirty="0"/>
                    </a:p>
                  </a:txBody>
                  <a:tcPr marL="33338" marR="33338" marT="14288" marB="14288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r>
                        <a:rPr lang="en" sz="700" b="1" dirty="0">
                          <a:solidFill>
                            <a:schemeClr val="dk1"/>
                          </a:solidFill>
                        </a:rPr>
                        <a:t>2022 Performance Grade</a:t>
                      </a:r>
                      <a:endParaRPr sz="700" b="1" u="none" strike="noStrike" cap="none" dirty="0"/>
                    </a:p>
                  </a:txBody>
                  <a:tcPr marL="51431" marR="51431" marT="20250" marB="20250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CE5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endParaRPr sz="700" u="none" strike="noStrike" cap="none" dirty="0">
                        <a:solidFill>
                          <a:schemeClr val="dk1"/>
                        </a:solidFill>
                      </a:endParaRPr>
                    </a:p>
                  </a:txBody>
                  <a:tcPr marL="33338" marR="33338" marT="14288" marB="14288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19258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" sz="700" b="1" u="none" strike="noStrike" cap="none"/>
                        <a:t>Country Head/HOD</a:t>
                      </a:r>
                      <a:endParaRPr sz="700" b="1" u="none" strike="noStrike" cap="none"/>
                    </a:p>
                  </a:txBody>
                  <a:tcPr marL="51431" marR="51431" marT="20250" marB="20250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CE5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endParaRPr sz="700" u="none" strike="noStrike" cap="none" dirty="0"/>
                    </a:p>
                  </a:txBody>
                  <a:tcPr marL="33338" marR="33338" marT="14288" marB="14288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r>
                        <a:rPr lang="en" sz="700" b="1">
                          <a:solidFill>
                            <a:schemeClr val="dk1"/>
                          </a:solidFill>
                        </a:rPr>
                        <a:t>2023 Long-term Potential</a:t>
                      </a:r>
                      <a:endParaRPr sz="700" b="1" u="none" strike="noStrike" cap="none"/>
                    </a:p>
                  </a:txBody>
                  <a:tcPr marL="51431" marR="51431" marT="20250" marB="20250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CE5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endParaRPr sz="700" u="none" strike="noStrike" cap="none" dirty="0">
                        <a:solidFill>
                          <a:schemeClr val="dk1"/>
                        </a:solidFill>
                      </a:endParaRPr>
                    </a:p>
                  </a:txBody>
                  <a:tcPr marL="33338" marR="33338" marT="14288" marB="14288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4" name="Google Shape;103;p19">
            <a:extLst>
              <a:ext uri="{FF2B5EF4-FFF2-40B4-BE49-F238E27FC236}">
                <a16:creationId xmlns:a16="http://schemas.microsoft.com/office/drawing/2014/main" id="{9E808F03-A12A-7ED5-A9BB-0BE4931E1F51}"/>
              </a:ext>
            </a:extLst>
          </p:cNvPr>
          <p:cNvSpPr/>
          <p:nvPr userDrawn="1"/>
        </p:nvSpPr>
        <p:spPr>
          <a:xfrm>
            <a:off x="182815" y="1883664"/>
            <a:ext cx="3110021" cy="177409"/>
          </a:xfrm>
          <a:prstGeom prst="rect">
            <a:avLst/>
          </a:prstGeom>
          <a:solidFill>
            <a:srgbClr val="113366"/>
          </a:solidFill>
          <a:ln>
            <a:noFill/>
          </a:ln>
        </p:spPr>
        <p:txBody>
          <a:bodyPr spcFirstLastPara="1" wrap="square" lIns="51431" tIns="51431" rIns="51431" bIns="51431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r>
              <a:rPr lang="en" sz="675" b="1" i="0" u="none" strike="noStrike" cap="none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Background and Experience</a:t>
            </a:r>
            <a:endParaRPr sz="675" b="1" i="0" u="none" strike="noStrike" cap="none" dirty="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8" name="Google Shape;104;p19">
            <a:extLst>
              <a:ext uri="{FF2B5EF4-FFF2-40B4-BE49-F238E27FC236}">
                <a16:creationId xmlns:a16="http://schemas.microsoft.com/office/drawing/2014/main" id="{90DC6F56-5F2D-5A2F-EAD1-2B5C6F3664AD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3002661184"/>
              </p:ext>
            </p:extLst>
          </p:nvPr>
        </p:nvGraphicFramePr>
        <p:xfrm>
          <a:off x="182815" y="2105245"/>
          <a:ext cx="3094119" cy="2805085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95175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4236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858761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600"/>
                        <a:buFont typeface="Arial"/>
                        <a:buNone/>
                      </a:pPr>
                      <a:r>
                        <a:rPr lang="en" sz="700" b="1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cademic Background</a:t>
                      </a:r>
                      <a:endParaRPr sz="700" b="1" i="0" u="none" strike="noStrike" cap="none" dirty="0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82913" marR="82913" marT="68569" marB="68569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6D9F6"/>
                    </a:solidFill>
                  </a:tcPr>
                </a:tc>
                <a:tc>
                  <a:txBody>
                    <a:bodyPr/>
                    <a:lstStyle/>
                    <a:p>
                      <a:pPr marL="127000" marR="0" lvl="0" indent="-1206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ts val="900"/>
                        <a:buChar char="•"/>
                      </a:pPr>
                      <a:endParaRPr sz="700" dirty="0"/>
                    </a:p>
                  </a:txBody>
                  <a:tcPr marL="68569" marR="68569" marT="68569" marB="68569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7789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600"/>
                        <a:buFont typeface="Arial"/>
                        <a:buNone/>
                      </a:pPr>
                      <a:r>
                        <a:rPr lang="en" sz="700" b="1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areer Path</a:t>
                      </a:r>
                      <a:r>
                        <a:rPr lang="en" sz="700" b="1" u="none" strike="noStrike" cap="none" dirty="0">
                          <a:solidFill>
                            <a:schemeClr val="dk1"/>
                          </a:solidFill>
                        </a:rPr>
                        <a:t> </a:t>
                      </a:r>
                      <a:r>
                        <a:rPr lang="en" sz="700" b="1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nd Past Experiences</a:t>
                      </a:r>
                      <a:endParaRPr sz="700" b="1" i="0" u="none" strike="noStrike" cap="none" dirty="0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82913" marR="82913" marT="68569" marB="68569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6D9F6"/>
                    </a:solidFill>
                  </a:tcPr>
                </a:tc>
                <a:tc>
                  <a:txBody>
                    <a:bodyPr/>
                    <a:lstStyle/>
                    <a:p>
                      <a:pPr marL="635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ts val="900"/>
                        <a:buNone/>
                      </a:pPr>
                      <a:endParaRPr sz="700" dirty="0"/>
                    </a:p>
                  </a:txBody>
                  <a:tcPr marL="68569" marR="68569" marT="68569" marB="68569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68429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600"/>
                        <a:buFont typeface="Arial"/>
                        <a:buNone/>
                      </a:pPr>
                      <a:r>
                        <a:rPr lang="en" sz="700" b="1" i="0" u="none" strike="noStrike" cap="none" dirty="0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202</a:t>
                      </a:r>
                      <a:r>
                        <a:rPr lang="en" sz="700" b="1" dirty="0">
                          <a:solidFill>
                            <a:srgbClr val="000000"/>
                          </a:solidFill>
                        </a:rPr>
                        <a:t>3 </a:t>
                      </a:r>
                      <a:r>
                        <a:rPr lang="en" sz="700" b="1" i="0" u="none" strike="noStrike" cap="none" dirty="0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Performance Goals </a:t>
                      </a:r>
                      <a:endParaRPr sz="700" b="1" i="0" u="none" strike="noStrike" cap="none" dirty="0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82913" marR="82913" marT="0" marB="0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6D9F6"/>
                    </a:solidFill>
                  </a:tcPr>
                </a:tc>
                <a:tc>
                  <a:txBody>
                    <a:bodyPr/>
                    <a:lstStyle/>
                    <a:p>
                      <a:pPr marL="6350" marR="0" lvl="0" indent="0" algn="l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endParaRPr sz="700" u="none" strike="noStrike" cap="none" dirty="0"/>
                    </a:p>
                  </a:txBody>
                  <a:tcPr marL="68569" marR="68569" marT="13706" marB="13706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9" name="Google Shape;105;p19">
            <a:extLst>
              <a:ext uri="{FF2B5EF4-FFF2-40B4-BE49-F238E27FC236}">
                <a16:creationId xmlns:a16="http://schemas.microsoft.com/office/drawing/2014/main" id="{0E4A759F-7246-4006-C353-9B2A26008F4A}"/>
              </a:ext>
            </a:extLst>
          </p:cNvPr>
          <p:cNvSpPr/>
          <p:nvPr userDrawn="1"/>
        </p:nvSpPr>
        <p:spPr>
          <a:xfrm>
            <a:off x="3364992" y="1883664"/>
            <a:ext cx="5550408" cy="201168"/>
          </a:xfrm>
          <a:prstGeom prst="rect">
            <a:avLst/>
          </a:prstGeom>
          <a:solidFill>
            <a:srgbClr val="38761D"/>
          </a:solidFill>
          <a:ln>
            <a:noFill/>
          </a:ln>
        </p:spPr>
        <p:txBody>
          <a:bodyPr spcFirstLastPara="1" wrap="square" lIns="51431" tIns="51431" rIns="51431" bIns="51431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r>
              <a:rPr lang="en" sz="675" b="1" dirty="0">
                <a:solidFill>
                  <a:srgbClr val="FFFFFF"/>
                </a:solidFill>
              </a:rPr>
              <a:t>Strengths and Development Areas</a:t>
            </a:r>
            <a:endParaRPr sz="675" b="1" i="0" u="none" strike="noStrike" cap="none" dirty="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10" name="Google Shape;106;p19">
            <a:extLst>
              <a:ext uri="{FF2B5EF4-FFF2-40B4-BE49-F238E27FC236}">
                <a16:creationId xmlns:a16="http://schemas.microsoft.com/office/drawing/2014/main" id="{6608B435-E148-53E6-24EB-E3E9215601C3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939330737"/>
              </p:ext>
            </p:extLst>
          </p:nvPr>
        </p:nvGraphicFramePr>
        <p:xfrm>
          <a:off x="3369955" y="2118766"/>
          <a:ext cx="5539987" cy="1005839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138927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1507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40603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r>
                        <a:rPr lang="en" sz="700" b="1" u="none" strike="noStrike" cap="none" dirty="0">
                          <a:solidFill>
                            <a:srgbClr val="000000"/>
                          </a:solidFill>
                        </a:rPr>
                        <a:t>Strengths</a:t>
                      </a:r>
                      <a:endParaRPr sz="700" u="none" strike="noStrike" cap="none" dirty="0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68569" marR="68569" marT="13706" marB="13706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Arial"/>
                        <a:buNone/>
                      </a:pPr>
                      <a:endParaRPr sz="700" dirty="0"/>
                    </a:p>
                  </a:txBody>
                  <a:tcPr marL="68569" marR="68569" marT="13706" marB="13706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65236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r>
                        <a:rPr lang="en" sz="700" b="1" u="none" strike="noStrike" cap="none">
                          <a:solidFill>
                            <a:srgbClr val="000000"/>
                          </a:solidFill>
                        </a:rPr>
                        <a:t>Development Areas</a:t>
                      </a:r>
                      <a:endParaRPr sz="7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68569" marR="68569" marT="13706" marB="13706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Arial"/>
                        <a:buNone/>
                      </a:pPr>
                      <a:endParaRPr sz="700" dirty="0"/>
                    </a:p>
                  </a:txBody>
                  <a:tcPr marL="68569" marR="68569" marT="13706" marB="13706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1" name="Google Shape;107;p19">
            <a:extLst>
              <a:ext uri="{FF2B5EF4-FFF2-40B4-BE49-F238E27FC236}">
                <a16:creationId xmlns:a16="http://schemas.microsoft.com/office/drawing/2014/main" id="{A0464B67-1E73-31F4-D042-FE90AEBCC8F6}"/>
              </a:ext>
            </a:extLst>
          </p:cNvPr>
          <p:cNvSpPr/>
          <p:nvPr userDrawn="1"/>
        </p:nvSpPr>
        <p:spPr>
          <a:xfrm>
            <a:off x="3364992" y="3208688"/>
            <a:ext cx="5539987" cy="1953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txBody>
          <a:bodyPr spcFirstLastPara="1" wrap="square" lIns="51431" tIns="51431" rIns="51431" bIns="51431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r>
              <a:rPr lang="en" sz="675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Future Plan</a:t>
            </a:r>
            <a:endParaRPr sz="675" b="1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12" name="Google Shape;108;p19">
            <a:extLst>
              <a:ext uri="{FF2B5EF4-FFF2-40B4-BE49-F238E27FC236}">
                <a16:creationId xmlns:a16="http://schemas.microsoft.com/office/drawing/2014/main" id="{920DFFBC-9C50-54BF-5121-96B815190D74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3883649605"/>
              </p:ext>
            </p:extLst>
          </p:nvPr>
        </p:nvGraphicFramePr>
        <p:xfrm>
          <a:off x="3364993" y="3465205"/>
          <a:ext cx="5539986" cy="1445125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140022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13975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2539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r>
                        <a:rPr lang="en" sz="700" b="1" u="none" strike="noStrike" cap="none">
                          <a:solidFill>
                            <a:srgbClr val="000000"/>
                          </a:solidFill>
                        </a:rPr>
                        <a:t>Current Role</a:t>
                      </a:r>
                      <a:endParaRPr sz="700" u="none" strike="noStrike" cap="none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endParaRPr sz="7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68569" marR="68569" marT="13706" marB="13706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9DC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endParaRPr sz="700" u="none" strike="noStrike" cap="none" dirty="0">
                        <a:solidFill>
                          <a:srgbClr val="000000"/>
                        </a:solidFill>
                      </a:endParaRPr>
                    </a:p>
                  </a:txBody>
                  <a:tcPr marL="68569" marR="68569" marT="13706" marB="13706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539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r>
                        <a:rPr lang="en" sz="700" b="1" u="none" strike="noStrike" cap="none">
                          <a:solidFill>
                            <a:srgbClr val="000000"/>
                          </a:solidFill>
                        </a:rPr>
                        <a:t>Potential role in 6 months</a:t>
                      </a:r>
                      <a:endParaRPr sz="7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68569" marR="68569" marT="13706" marB="13706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9DC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100"/>
                        <a:buFont typeface="Arial"/>
                        <a:buNone/>
                      </a:pPr>
                      <a:endParaRPr sz="700" u="none" strike="noStrike" cap="none" dirty="0">
                        <a:solidFill>
                          <a:srgbClr val="000000"/>
                        </a:solidFill>
                      </a:endParaRPr>
                    </a:p>
                  </a:txBody>
                  <a:tcPr marL="68569" marR="68569" marT="13706" marB="13706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539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r>
                        <a:rPr lang="en" sz="700" b="1" u="none" strike="noStrike" cap="none">
                          <a:solidFill>
                            <a:srgbClr val="000000"/>
                          </a:solidFill>
                        </a:rPr>
                        <a:t>Potential role in 1-2 years</a:t>
                      </a:r>
                      <a:endParaRPr sz="700" u="none" strike="noStrike" cap="none"/>
                    </a:p>
                  </a:txBody>
                  <a:tcPr marL="68569" marR="68569" marT="13706" marB="13706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9DC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100"/>
                        <a:buFont typeface="Arial"/>
                        <a:buNone/>
                      </a:pPr>
                      <a:endParaRPr sz="700" u="none" strike="noStrike" cap="none" dirty="0">
                        <a:solidFill>
                          <a:srgbClr val="000000"/>
                        </a:solidFill>
                      </a:endParaRPr>
                    </a:p>
                  </a:txBody>
                  <a:tcPr marL="68569" marR="68569" marT="13706" marB="13706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6895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r>
                        <a:rPr lang="en" sz="700" b="1" dirty="0"/>
                        <a:t>Development Plan 2023</a:t>
                      </a:r>
                      <a:endParaRPr sz="700" u="none" strike="noStrike" cap="none"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endParaRPr sz="700" u="none" strike="noStrike" cap="none" dirty="0"/>
                    </a:p>
                  </a:txBody>
                  <a:tcPr marL="68569" marR="68569" marT="13706" marB="13706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9DC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700"/>
                        <a:buFont typeface="Arial"/>
                        <a:buNone/>
                      </a:pPr>
                      <a:endParaRPr sz="700" u="none" strike="noStrike" cap="none" dirty="0">
                        <a:solidFill>
                          <a:srgbClr val="000000"/>
                        </a:solidFill>
                      </a:endParaRPr>
                    </a:p>
                  </a:txBody>
                  <a:tcPr marL="68569" marR="68569" marT="13706" marB="13706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" name="Google Shape;19;p3">
            <a:extLst>
              <a:ext uri="{FF2B5EF4-FFF2-40B4-BE49-F238E27FC236}">
                <a16:creationId xmlns:a16="http://schemas.microsoft.com/office/drawing/2014/main" id="{B2C384DE-C5F8-3DDE-D69B-F7D403E9D015}"/>
              </a:ext>
            </a:extLst>
          </p:cNvPr>
          <p:cNvSpPr txBox="1"/>
          <p:nvPr userDrawn="1"/>
        </p:nvSpPr>
        <p:spPr>
          <a:xfrm>
            <a:off x="3687357" y="4958693"/>
            <a:ext cx="1508793" cy="16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7138" tIns="17138" rIns="17138" bIns="17138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000"/>
              <a:buFont typeface="Open Sans"/>
              <a:buNone/>
            </a:pPr>
            <a:r>
              <a:rPr lang="en-US" sz="750" b="0" i="0" u="none" strike="noStrike" cap="none" dirty="0">
                <a:solidFill>
                  <a:srgbClr val="888888"/>
                </a:solidFill>
                <a:latin typeface="Open Sans"/>
                <a:ea typeface="Open Sans"/>
                <a:cs typeface="Open Sans"/>
                <a:sym typeface="Open Sans"/>
              </a:rPr>
              <a:t>Private &amp; Confidential</a:t>
            </a:r>
            <a:endParaRPr sz="525" dirty="0"/>
          </a:p>
        </p:txBody>
      </p:sp>
      <p:sp>
        <p:nvSpPr>
          <p:cNvPr id="14" name="Google Shape;25;p3">
            <a:extLst>
              <a:ext uri="{FF2B5EF4-FFF2-40B4-BE49-F238E27FC236}">
                <a16:creationId xmlns:a16="http://schemas.microsoft.com/office/drawing/2014/main" id="{16D04EE8-D4FA-BEB6-8543-794EE3C2AFF4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8767743" y="4784766"/>
            <a:ext cx="173520" cy="19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5400" tIns="25400" rIns="25400" bIns="25400" anchor="t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Open Sans"/>
              <a:buNone/>
              <a:defRPr sz="900">
                <a:solidFill>
                  <a:srgbClr val="000000"/>
                </a:solidFill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Open Sans"/>
              <a:buNone/>
              <a:defRPr sz="900">
                <a:solidFill>
                  <a:srgbClr val="000000"/>
                </a:solidFill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Open Sans"/>
              <a:buNone/>
              <a:defRPr sz="900">
                <a:solidFill>
                  <a:srgbClr val="000000"/>
                </a:solidFill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Open Sans"/>
              <a:buNone/>
              <a:defRPr sz="900">
                <a:solidFill>
                  <a:srgbClr val="000000"/>
                </a:solidFill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Open Sans"/>
              <a:buNone/>
              <a:defRPr sz="900">
                <a:solidFill>
                  <a:srgbClr val="000000"/>
                </a:solidFill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Open Sans"/>
              <a:buNone/>
              <a:defRPr sz="900">
                <a:solidFill>
                  <a:srgbClr val="000000"/>
                </a:solidFill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Open Sans"/>
              <a:buNone/>
              <a:defRPr sz="900">
                <a:solidFill>
                  <a:srgbClr val="000000"/>
                </a:solidFill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Open Sans"/>
              <a:buNone/>
              <a:defRPr sz="900">
                <a:solidFill>
                  <a:srgbClr val="000000"/>
                </a:solidFill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Open Sans"/>
              <a:buNone/>
              <a:defRPr sz="900">
                <a:solidFill>
                  <a:srgbClr val="000000"/>
                </a:solidFill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 sz="825" dirty="0">
              <a:solidFill>
                <a:srgbClr val="92929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44710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DF422E0-655F-40A0-BC0E-5B196BA44D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704326364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Google Shape;8;p21"/>
          <p:cNvSpPr txBox="1">
            <a:spLocks noGrp="1"/>
          </p:cNvSpPr>
          <p:nvPr>
            <p:ph type="sldNum" idx="12"/>
          </p:nvPr>
        </p:nvSpPr>
        <p:spPr>
          <a:xfrm>
            <a:off x="8996154" y="4696456"/>
            <a:ext cx="226432" cy="4154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sp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105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105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105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105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105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105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105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105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105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1" name="Google Shape;11;p21"/>
          <p:cNvSpPr txBox="1"/>
          <p:nvPr/>
        </p:nvSpPr>
        <p:spPr>
          <a:xfrm>
            <a:off x="2061600" y="4811846"/>
            <a:ext cx="5014800" cy="3316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50" tIns="68550" rIns="68550" bIns="6855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08080"/>
              </a:buClr>
              <a:buSzPts val="1800"/>
              <a:buFont typeface="Arial"/>
              <a:buNone/>
            </a:pPr>
            <a:r>
              <a:rPr lang="en-US" sz="750" b="0" i="0" u="none" strike="noStrike" cap="none">
                <a:solidFill>
                  <a:srgbClr val="808080"/>
                </a:solidFill>
                <a:latin typeface="Arial"/>
                <a:ea typeface="Arial"/>
                <a:cs typeface="Arial"/>
                <a:sym typeface="Arial"/>
              </a:rPr>
              <a:t>Private &amp; Confidential</a:t>
            </a:r>
            <a:endParaRPr sz="75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" name="Google Shape;12;p21"/>
          <p:cNvSpPr txBox="1"/>
          <p:nvPr/>
        </p:nvSpPr>
        <p:spPr>
          <a:xfrm>
            <a:off x="8578931" y="4833182"/>
            <a:ext cx="290700" cy="28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6969" tIns="76969" rIns="76969" bIns="7696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-US"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t>‹#›</a:t>
            </a:fld>
            <a:endParaRPr sz="900" b="0" i="0" u="none" strike="noStrike" cap="none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" name="Google Shape;65;p15">
            <a:extLst>
              <a:ext uri="{FF2B5EF4-FFF2-40B4-BE49-F238E27FC236}">
                <a16:creationId xmlns:a16="http://schemas.microsoft.com/office/drawing/2014/main" id="{71403F6E-1EF9-B139-31E7-A936A4087AFB}"/>
              </a:ext>
            </a:extLst>
          </p:cNvPr>
          <p:cNvPicPr preferRelativeResize="0"/>
          <p:nvPr userDrawn="1"/>
        </p:nvPicPr>
        <p:blipFill rotWithShape="1">
          <a:blip r:embed="rId8">
            <a:alphaModFix/>
          </a:blip>
          <a:srcRect b="23989"/>
          <a:stretch/>
        </p:blipFill>
        <p:spPr>
          <a:xfrm>
            <a:off x="182815" y="167918"/>
            <a:ext cx="338678" cy="36450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4" name="Google Shape;66;p15">
            <a:extLst>
              <a:ext uri="{FF2B5EF4-FFF2-40B4-BE49-F238E27FC236}">
                <a16:creationId xmlns:a16="http://schemas.microsoft.com/office/drawing/2014/main" id="{0CB16652-70DF-9882-8ED5-9E681BAA5F5D}"/>
              </a:ext>
            </a:extLst>
          </p:cNvPr>
          <p:cNvCxnSpPr>
            <a:cxnSpLocks/>
          </p:cNvCxnSpPr>
          <p:nvPr userDrawn="1"/>
        </p:nvCxnSpPr>
        <p:spPr>
          <a:xfrm>
            <a:off x="39874" y="599728"/>
            <a:ext cx="8819705" cy="1013"/>
          </a:xfrm>
          <a:prstGeom prst="straightConnector1">
            <a:avLst/>
          </a:prstGeom>
          <a:noFill/>
          <a:ln w="38100" cap="flat" cmpd="sng">
            <a:solidFill>
              <a:srgbClr val="EE4D2D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5" name="Google Shape;67;p15">
            <a:extLst>
              <a:ext uri="{FF2B5EF4-FFF2-40B4-BE49-F238E27FC236}">
                <a16:creationId xmlns:a16="http://schemas.microsoft.com/office/drawing/2014/main" id="{25B2E7C2-6971-3DCF-EF90-78AC2236AC1F}"/>
              </a:ext>
            </a:extLst>
          </p:cNvPr>
          <p:cNvSpPr/>
          <p:nvPr userDrawn="1"/>
        </p:nvSpPr>
        <p:spPr>
          <a:xfrm>
            <a:off x="8962928" y="564416"/>
            <a:ext cx="57150" cy="56700"/>
          </a:xfrm>
          <a:prstGeom prst="ellipse">
            <a:avLst/>
          </a:prstGeom>
          <a:solidFill>
            <a:srgbClr val="FF6600"/>
          </a:solidFill>
          <a:ln w="9525" cap="flat" cmpd="sng">
            <a:solidFill>
              <a:srgbClr val="FF66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21694" tIns="10838" rIns="21694" bIns="10838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Calibri"/>
              <a:buNone/>
            </a:pPr>
            <a:endParaRPr sz="675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61" r:id="rId2"/>
    <p:sldLayoutId id="2147483663" r:id="rId3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761B61E-2955-49C7-9AE2-51674268CE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082668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066303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 Theme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000FF"/>
      </a:hlink>
      <a:folHlink>
        <a:srgbClr val="FF00FF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417acb7c-4eeb-4096-8f1f-db2066474bff" xsi:nil="true"/>
    <lcf76f155ced4ddcb4097134ff3c332f xmlns="49e69a8e-3a37-4a7e-a847-325e712e4abd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A7C8C06661FCA40B4BE759A4A0A34B7" ma:contentTypeVersion="13" ma:contentTypeDescription="Create a new document." ma:contentTypeScope="" ma:versionID="89dd002dcd7e1c1f5f164fb8e420b8e9">
  <xsd:schema xmlns:xsd="http://www.w3.org/2001/XMLSchema" xmlns:xs="http://www.w3.org/2001/XMLSchema" xmlns:p="http://schemas.microsoft.com/office/2006/metadata/properties" xmlns:ns2="49e69a8e-3a37-4a7e-a847-325e712e4abd" xmlns:ns3="417acb7c-4eeb-4096-8f1f-db2066474bff" targetNamespace="http://schemas.microsoft.com/office/2006/metadata/properties" ma:root="true" ma:fieldsID="cda26ae25289facd3534b85d0196e0bf" ns2:_="" ns3:_="">
    <xsd:import namespace="49e69a8e-3a37-4a7e-a847-325e712e4abd"/>
    <xsd:import namespace="417acb7c-4eeb-4096-8f1f-db2066474bf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9e69a8e-3a37-4a7e-a847-325e712e4ab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6adfc057-e2c3-428b-8b81-a5b39ef70d6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17acb7c-4eeb-4096-8f1f-db2066474bff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0" nillable="true" ma:displayName="Taxonomy Catch All Column" ma:hidden="true" ma:list="{f1ea21fa-b679-4879-8e3e-f9e35f127bce}" ma:internalName="TaxCatchAll" ma:showField="CatchAllData" ma:web="417acb7c-4eeb-4096-8f1f-db2066474bf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4EEB491-5094-4427-8E17-37F6A6EE2EC0}">
  <ds:schemaRefs>
    <ds:schemaRef ds:uri="417acb7c-4eeb-4096-8f1f-db2066474bff"/>
    <ds:schemaRef ds:uri="49e69a8e-3a37-4a7e-a847-325e712e4abd"/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80DD9542-80DE-4BA2-BDD6-E0D59BFA6E9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262CB66-1EED-46C5-BB05-26F3CF5660FD}">
  <ds:schemaRefs>
    <ds:schemaRef ds:uri="417acb7c-4eeb-4096-8f1f-db2066474bff"/>
    <ds:schemaRef ds:uri="49e69a8e-3a37-4a7e-a847-325e712e4abd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8709</TotalTime>
  <Words>0</Words>
  <Application>Microsoft Office PowerPoint</Application>
  <PresentationFormat>On-screen Show (16:9)</PresentationFormat>
  <Paragraphs>0</Paragraphs>
  <Slides>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7" baseType="lpstr">
      <vt:lpstr>Arial</vt:lpstr>
      <vt:lpstr>Calibri</vt:lpstr>
      <vt:lpstr>Open Sans</vt:lpstr>
      <vt:lpstr>Office Theme</vt:lpstr>
      <vt:lpstr>think-cell Slide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P&amp;A (PRM) team meeting</dc:title>
  <dc:creator>Andrew Tan Shou Ren</dc:creator>
  <cp:lastModifiedBy>To Duc Hoang</cp:lastModifiedBy>
  <cp:revision>84</cp:revision>
  <dcterms:modified xsi:type="dcterms:W3CDTF">2023-05-17T10:16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A7C8C06661FCA40B4BE759A4A0A34B7</vt:lpwstr>
  </property>
  <property fmtid="{D5CDD505-2E9C-101B-9397-08002B2CF9AE}" pid="3" name="MediaServiceImageTags">
    <vt:lpwstr/>
  </property>
</Properties>
</file>